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42845038" cy="30243463"/>
  <p:notesSz cx="6858000" cy="9144000"/>
  <p:custDataLst>
    <p:tags r:id="rId5"/>
  </p:custDataLst>
  <p:defaultTextStyle>
    <a:defPPr>
      <a:defRPr lang="en-US"/>
    </a:defPPr>
    <a:lvl1pPr marL="0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30" autoAdjust="0"/>
    <p:restoredTop sz="94660"/>
  </p:normalViewPr>
  <p:slideViewPr>
    <p:cSldViewPr showGuides="1">
      <p:cViewPr>
        <p:scale>
          <a:sx n="30" d="100"/>
          <a:sy n="30" d="100"/>
        </p:scale>
        <p:origin x="-1248" y="-96"/>
      </p:cViewPr>
      <p:guideLst>
        <p:guide orient="horz" pos="17128"/>
        <p:guide orient="horz" pos="18425"/>
        <p:guide orient="horz" pos="3925"/>
        <p:guide orient="horz" pos="825"/>
        <p:guide pos="13176"/>
        <p:guide pos="956"/>
        <p:guide pos="26033"/>
        <p:guide pos="8926"/>
        <p:guide pos="9456"/>
        <p:guide pos="13705"/>
        <p:guide pos="17533"/>
        <p:guide pos="180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12C628-5128-4C47-B3B6-6C1B5A4E1082}" type="datetimeFigureOut">
              <a:rPr lang="de-CH" smtClean="0"/>
              <a:t>17.01.2019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48F7C-5A63-4193-9CCF-DA11CBA16E3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218367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08B81-6F93-4540-A02B-C78B70B7B557}" type="datetimeFigureOut">
              <a:rPr lang="en-US" smtClean="0"/>
              <a:t>1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25" y="685800"/>
            <a:ext cx="4857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B40A-5FE4-46E4-8C01-990DC147B4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562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59880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8731709"/>
            <a:ext cx="42845038" cy="13224569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1471904" indent="0">
              <a:buNone/>
              <a:defRPr sz="5500" baseline="0"/>
            </a:lvl1pPr>
          </a:lstStyle>
          <a:p>
            <a:r>
              <a:rPr lang="en-US" dirty="0" smtClean="0"/>
              <a:t>Click to add image</a:t>
            </a:r>
            <a:br>
              <a:rPr lang="en-US" dirty="0" smtClean="0"/>
            </a:br>
            <a:r>
              <a:rPr lang="en-US" dirty="0" smtClean="0"/>
              <a:t>(Rectangular images fit best, do not stretch image to fit)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4463025" y="1301818"/>
            <a:ext cx="36847014" cy="742989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2000"/>
              </a:lnSpc>
              <a:defRPr sz="183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redit Suisse Headline font 40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dd title line 2</a:t>
            </a:r>
            <a:br>
              <a:rPr lang="en-US" dirty="0" smtClean="0"/>
            </a:br>
            <a:r>
              <a:rPr lang="en-US" dirty="0" smtClean="0"/>
              <a:t>Add subtitle</a:t>
            </a:r>
            <a:endParaRPr lang="en-US" dirty="0"/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4173" y="25883990"/>
            <a:ext cx="9581095" cy="2132998"/>
          </a:xfrm>
          <a:prstGeom prst="rect">
            <a:avLst/>
          </a:prstGeom>
        </p:spPr>
      </p:pic>
      <p:sp>
        <p:nvSpPr>
          <p:cNvPr id="4" name="Legal Entity Date Classification"/>
          <p:cNvSpPr>
            <a:spLocks noGrp="1"/>
          </p:cNvSpPr>
          <p:nvPr>
            <p:ph type="body" sz="quarter" idx="18" hasCustomPrompt="1"/>
          </p:nvPr>
        </p:nvSpPr>
        <p:spPr>
          <a:xfrm>
            <a:off x="4436317" y="23321599"/>
            <a:ext cx="10812468" cy="4794502"/>
          </a:xfrm>
        </p:spPr>
        <p:txBody>
          <a:bodyPr anchor="b"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LEGAL ENTITY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Month Day, Year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15010642" y="16129847"/>
            <a:ext cx="27834398" cy="1104958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4"/>
            <a:ext cx="12651970" cy="873170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4"/>
            <a:ext cx="12823758" cy="873170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hree Text Columns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778732" y="10525678"/>
            <a:ext cx="32066306" cy="15542441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Section Divider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9" name="Infographic Background"/>
          <p:cNvSpPr/>
          <p:nvPr userDrawn="1"/>
        </p:nvSpPr>
        <p:spPr>
          <a:xfrm>
            <a:off x="15010642" y="6223329"/>
            <a:ext cx="27868134" cy="12860417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2" y="20416322"/>
            <a:ext cx="26316267" cy="676310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2652678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 Infographic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>
          <a:xfrm>
            <a:off x="21757248" y="25544216"/>
            <a:ext cx="19570361" cy="1646897"/>
          </a:xfrm>
        </p:spPr>
        <p:txBody>
          <a:bodyPr anchor="b"/>
          <a:lstStyle>
            <a:lvl1pPr marL="0" indent="0">
              <a:buNone/>
              <a:defRPr sz="370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>
          <a:xfrm>
            <a:off x="21757248" y="9001597"/>
            <a:ext cx="19570361" cy="16542619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>
          <a:xfrm>
            <a:off x="21757248" y="7048870"/>
            <a:ext cx="19570361" cy="1952728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>
          <a:xfrm>
            <a:off x="21757248" y="6223327"/>
            <a:ext cx="1957036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 smtClean="0"/>
              <a:t>Char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hart with One Text Column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>
          <a:xfrm>
            <a:off x="1501263" y="25528340"/>
            <a:ext cx="39810181" cy="1666963"/>
          </a:xfrm>
        </p:spPr>
        <p:txBody>
          <a:bodyPr anchor="b"/>
          <a:lstStyle>
            <a:lvl1pPr marL="0" indent="0">
              <a:buNone/>
              <a:defRPr sz="3700" b="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>
          <a:xfrm>
            <a:off x="1501263" y="9001598"/>
            <a:ext cx="39810181" cy="16510867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>
          <a:xfrm>
            <a:off x="1501263" y="7048870"/>
            <a:ext cx="39810181" cy="1952728"/>
          </a:xfrm>
        </p:spPr>
        <p:txBody>
          <a:bodyPr/>
          <a:lstStyle>
            <a:lvl1pPr marL="0" indent="0">
              <a:buNone/>
              <a:defRPr sz="5500" b="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3981018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 smtClean="0"/>
              <a:t>Chart Titl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hart Only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6" name="Infographic Background"/>
          <p:cNvSpPr/>
          <p:nvPr userDrawn="1"/>
        </p:nvSpPr>
        <p:spPr>
          <a:xfrm>
            <a:off x="1517428" y="6230716"/>
            <a:ext cx="41326907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fographic Only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6" name="Print Screen Background"/>
          <p:cNvSpPr/>
          <p:nvPr userDrawn="1"/>
        </p:nvSpPr>
        <p:spPr>
          <a:xfrm>
            <a:off x="1517428" y="6230716"/>
            <a:ext cx="41327610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5002011" y="6747229"/>
            <a:ext cx="26316970" cy="1657437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7428" y="6230716"/>
            <a:ext cx="12652678" cy="20960400"/>
          </a:xfrm>
        </p:spPr>
        <p:txBody>
          <a:bodyPr lIns="493279" tIns="493279" bIns="493279"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Print Screen with Description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>
          <a:xfrm>
            <a:off x="28674934" y="20225812"/>
            <a:ext cx="12651970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>
          <a:xfrm>
            <a:off x="15010640" y="20225812"/>
            <a:ext cx="12823758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ontact Slide 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3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One Text Column without Picture 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media clip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Media Clip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>
          <a:xfrm>
            <a:off x="24661199" y="2068621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21759882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24661199" y="1706652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>
          <a:xfrm>
            <a:off x="24661199" y="1346270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>
          <a:xfrm>
            <a:off x="21759882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9843017"/>
            <a:ext cx="16665708" cy="1968603"/>
          </a:xfrm>
        </p:spPr>
        <p:txBody>
          <a:bodyPr tIns="0"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1759882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4486921" y="2068621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>
          <a:xfrm>
            <a:off x="4486921" y="1706652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501263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346270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501263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>
          <a:xfrm>
            <a:off x="4486921" y="984301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</a:t>
            </a:r>
            <a:endParaRPr lang="en-US" dirty="0"/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501263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Agenda Layout Option 1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>
          <a:xfrm>
            <a:off x="24661199" y="2084816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>
          <a:xfrm>
            <a:off x="24661199" y="18876366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>
          <a:xfrm>
            <a:off x="24661199" y="14468512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12494281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1759882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>
          <a:xfrm>
            <a:off x="24661199" y="819755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>
          <a:xfrm>
            <a:off x="4486921" y="2084816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6921" y="18876366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>
          <a:xfrm>
            <a:off x="4486921" y="14468512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249428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501263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>
          <a:xfrm>
            <a:off x="4486921" y="819755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Agenda Layout Option 2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6230709"/>
            <a:ext cx="20916710" cy="12859425"/>
          </a:xfrm>
        </p:spPr>
        <p:txBody>
          <a:bodyPr/>
          <a:lstStyle>
            <a:lvl1pPr marL="1392144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6223327"/>
            <a:ext cx="19570361" cy="20971976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One Text Column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9881" y="6223329"/>
            <a:ext cx="19482685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>
          <a:xfrm>
            <a:off x="21757248" y="6230714"/>
            <a:ext cx="21087790" cy="8445943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16002840"/>
            <a:ext cx="19567025" cy="11192463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6"/>
            <a:ext cx="12635102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6"/>
            <a:ext cx="1282375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hree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508" y="28449496"/>
            <a:ext cx="3714656" cy="826977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>
          <a:xfrm>
            <a:off x="1501263" y="28131977"/>
            <a:ext cx="3980877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1501263" y="6230714"/>
            <a:ext cx="39808775" cy="2095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  <a:p>
            <a:pPr lvl="2"/>
            <a:r>
              <a:rPr lang="en-US" dirty="0" smtClean="0"/>
              <a:t>Text level 3</a:t>
            </a:r>
          </a:p>
          <a:p>
            <a:pPr lvl="3"/>
            <a:r>
              <a:rPr lang="en-US" dirty="0" smtClean="0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1263" y="1301819"/>
            <a:ext cx="39808775" cy="34926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69" r:id="rId17"/>
    <p:sldLayoutId id="2147483671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176431" rtl="0" eaLnBrk="1" latinLnBrk="0" hangingPunct="1">
        <a:lnSpc>
          <a:spcPct val="82000"/>
        </a:lnSpc>
        <a:spcBef>
          <a:spcPct val="0"/>
        </a:spcBef>
        <a:buNone/>
        <a:defRPr sz="1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33198" indent="-1233198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1pPr>
      <a:lvl2pPr marL="2458006" indent="-1239880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sz="7300" kern="1200">
          <a:solidFill>
            <a:schemeClr val="tx1"/>
          </a:solidFill>
          <a:latin typeface="+mn-lt"/>
          <a:ea typeface="+mn-ea"/>
          <a:cs typeface="+mn-cs"/>
        </a:defRPr>
      </a:lvl2pPr>
      <a:lvl3pPr marL="3699594" indent="-1225379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3pPr>
      <a:lvl4pPr marL="4932792" indent="-1232627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lang="en-US" sz="73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141385" indent="-1225379" algn="l" defTabSz="4176431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73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indent="0" algn="l" defTabSz="4176431" rtl="0" eaLnBrk="1" latinLnBrk="0" hangingPunct="1">
        <a:spcBef>
          <a:spcPct val="20000"/>
        </a:spcBef>
        <a:buFont typeface="Arial" pitchFamily="34" charset="0"/>
        <a:buNone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540846" y="504107"/>
            <a:ext cx="41620624" cy="29235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446594" y="839884"/>
            <a:ext cx="13498205" cy="286591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725775" y="808760"/>
            <a:ext cx="13498205" cy="286591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44255" y="808760"/>
            <a:ext cx="13498205" cy="286591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4" name="Notched Right Arrow 13"/>
          <p:cNvSpPr/>
          <p:nvPr/>
        </p:nvSpPr>
        <p:spPr>
          <a:xfrm>
            <a:off x="28034794" y="3308250"/>
            <a:ext cx="13432786" cy="2520000"/>
          </a:xfrm>
          <a:prstGeom prst="notched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err="1" smtClean="0">
                <a:solidFill>
                  <a:schemeClr val="bg1"/>
                </a:solidFill>
              </a:rPr>
              <a:t>Visualization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92327" y="1368203"/>
            <a:ext cx="39604400" cy="17795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Smart </a:t>
            </a:r>
            <a:r>
              <a:rPr lang="de-CH" sz="6000" b="1" dirty="0" err="1" smtClean="0">
                <a:solidFill>
                  <a:schemeClr val="bg1"/>
                </a:solidFill>
              </a:rPr>
              <a:t>Recipes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363818" y="6336755"/>
            <a:ext cx="12889432" cy="4604732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CH" sz="4000" b="1" dirty="0" smtClean="0">
                <a:solidFill>
                  <a:schemeClr val="bg1"/>
                </a:solidFill>
              </a:rPr>
              <a:t> </a:t>
            </a:r>
            <a:r>
              <a:rPr lang="de-CH" sz="4000" b="1" dirty="0" err="1" smtClean="0">
                <a:solidFill>
                  <a:schemeClr val="bg1"/>
                </a:solidFill>
              </a:rPr>
              <a:t>Introduction</a:t>
            </a:r>
            <a:endParaRPr lang="de-CH" sz="4000" b="1" dirty="0" smtClean="0">
              <a:solidFill>
                <a:schemeClr val="bg1"/>
              </a:solidFill>
            </a:endParaRP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sym typeface="Helvetica"/>
              </a:rPr>
              <a:t>The aim of this study is to find correlations between attributes and characteristics of food recipes and the corresponding ratings and reviews given to that recipe.</a:t>
            </a: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sym typeface="Helvetica"/>
              </a:rPr>
              <a:t>Performing a range of different analysis techniques provides a set of hints and best practices to help recipe authors to maximize their ratings by choosing the recipes with attributes most likely to be rated positively. </a:t>
            </a:r>
          </a:p>
          <a:p>
            <a:pPr algn="ctr"/>
            <a:endParaRPr lang="de-CH" sz="3200" dirty="0" smtClean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331172" y="11305307"/>
            <a:ext cx="12889432" cy="3600000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CH" sz="4000" b="1" dirty="0" smtClean="0">
                <a:solidFill>
                  <a:schemeClr val="bg1"/>
                </a:solidFill>
              </a:rPr>
              <a:t> Data </a:t>
            </a:r>
            <a:r>
              <a:rPr lang="de-CH" sz="4000" b="1" dirty="0" err="1" smtClean="0">
                <a:solidFill>
                  <a:schemeClr val="bg1"/>
                </a:solidFill>
              </a:rPr>
              <a:t>acquisition</a:t>
            </a:r>
            <a:endParaRPr lang="de-CH" sz="4000" b="1" dirty="0">
              <a:solidFill>
                <a:schemeClr val="bg1"/>
              </a:solidFill>
            </a:endParaRP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The recipe data has been extracted from the Cooking recipes database, which is a collection of HTML documents from over 50 websites.</a:t>
            </a: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All websites featured their own custom format and required a custom scraper. We selected the top 3 websites representing 2/3 of the total number of recipes.</a:t>
            </a:r>
            <a:endParaRPr lang="en-US" sz="3200" dirty="0">
              <a:solidFill>
                <a:schemeClr val="accent6">
                  <a:lumOff val="44000"/>
                </a:schemeClr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32287" y="18578115"/>
            <a:ext cx="12889432" cy="10516946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127000">
              <a:defRPr sz="4000">
                <a:solidFill>
                  <a:schemeClr val="accent6">
                    <a:lumOff val="44000"/>
                  </a:schemeClr>
                </a:solidFill>
              </a:defRPr>
            </a:pPr>
            <a:r>
              <a:rPr lang="en-US" sz="4000" b="1" dirty="0" smtClean="0">
                <a:solidFill>
                  <a:schemeClr val="bg1"/>
                </a:solidFill>
              </a:rPr>
              <a:t>Data </a:t>
            </a:r>
            <a:r>
              <a:rPr lang="en-US" sz="4000" b="1" dirty="0">
                <a:solidFill>
                  <a:schemeClr val="bg1"/>
                </a:solidFill>
              </a:rPr>
              <a:t>Import</a:t>
            </a: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The three selected websites provided different recipe attributes in different formats, which needed to be parsed and consolidated into a common format in order to perform meaningful analysis on them. Common attributes were: 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name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review text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review date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rating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category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ingredient list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nutritional values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preparation time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cooking time</a:t>
            </a:r>
            <a:b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</a:b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  - serving size</a:t>
            </a:r>
          </a:p>
          <a:p>
            <a:pPr marL="127000" marR="127000" defTabSz="457200">
              <a:spcBef>
                <a:spcPts val="1200"/>
              </a:spcBef>
              <a:defRPr sz="320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defRPr>
            </a:pPr>
            <a:r>
              <a:rPr lang="en-US" sz="3200" dirty="0">
                <a:solidFill>
                  <a:schemeClr val="accent6">
                    <a:lumOff val="44000"/>
                  </a:schemeClr>
                </a:solidFill>
                <a:latin typeface="+mj-lt"/>
                <a:ea typeface="+mj-ea"/>
                <a:cs typeface="+mj-cs"/>
                <a:sym typeface="Helvetica"/>
              </a:rPr>
              <a:t>The data sets had to be cleaned separately. Nutrition information had to be converted to numeric values on a unified scale, using the same measurement units. Time values needed to be converted to minutes. Rating values had to be scaled to a common range. Some text values had to be converted to numeric values.</a:t>
            </a:r>
          </a:p>
          <a:p>
            <a:pPr algn="ctr"/>
            <a:endParaRPr lang="de-CH" sz="3200" dirty="0">
              <a:solidFill>
                <a:schemeClr val="accent6">
                  <a:lumOff val="44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55279" y="29553660"/>
            <a:ext cx="14617624" cy="576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2400" dirty="0" smtClean="0">
                <a:solidFill>
                  <a:schemeClr val="tx1"/>
                </a:solidFill>
              </a:rPr>
              <a:t>EPFL 2018-2019 Applied Data Analysis	Omar </a:t>
            </a:r>
            <a:r>
              <a:rPr lang="de-CH" sz="2400" dirty="0" err="1" smtClean="0">
                <a:solidFill>
                  <a:schemeClr val="tx1"/>
                </a:solidFill>
              </a:rPr>
              <a:t>Mehio</a:t>
            </a:r>
            <a:r>
              <a:rPr lang="de-CH" sz="2400" dirty="0" smtClean="0">
                <a:solidFill>
                  <a:schemeClr val="tx1"/>
                </a:solidFill>
              </a:rPr>
              <a:t> – Leonardo Perrone – Attila Bekk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5049811" y="6336755"/>
            <a:ext cx="12889432" cy="669674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smtClean="0">
                <a:solidFill>
                  <a:schemeClr val="bg1"/>
                </a:solidFill>
              </a:rPr>
              <a:t>More </a:t>
            </a:r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50980" y="6336755"/>
            <a:ext cx="12889432" cy="66967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smtClean="0">
                <a:solidFill>
                  <a:schemeClr val="bg1"/>
                </a:solidFill>
              </a:rPr>
              <a:t>More </a:t>
            </a:r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13" name="Notched Right Arrow 12"/>
          <p:cNvSpPr/>
          <p:nvPr/>
        </p:nvSpPr>
        <p:spPr>
          <a:xfrm>
            <a:off x="14447866" y="3312606"/>
            <a:ext cx="14303114" cy="2520000"/>
          </a:xfrm>
          <a:prstGeom prst="notched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Data Analysis</a:t>
            </a:r>
          </a:p>
        </p:txBody>
      </p:sp>
      <p:sp>
        <p:nvSpPr>
          <p:cNvPr id="12" name="Notched Right Arrow 11"/>
          <p:cNvSpPr/>
          <p:nvPr/>
        </p:nvSpPr>
        <p:spPr>
          <a:xfrm>
            <a:off x="1395349" y="3312605"/>
            <a:ext cx="13753528" cy="2520094"/>
          </a:xfrm>
          <a:prstGeom prst="notchedRightArrow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Data </a:t>
            </a:r>
            <a:r>
              <a:rPr lang="de-CH" sz="6000" b="1" dirty="0" err="1" smtClean="0">
                <a:solidFill>
                  <a:schemeClr val="bg1"/>
                </a:solidFill>
              </a:rPr>
              <a:t>Scraping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pic>
        <p:nvPicPr>
          <p:cNvPr id="25" name="Image" descr="Image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46156" y="15169476"/>
            <a:ext cx="13259464" cy="28467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8815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e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ey 6">
      <a:srgbClr val="575756"/>
    </a:custClr>
    <a:custClr name="Credit Suisse Gre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ey 5">
      <a:srgbClr val="7C7C7B"/>
    </a:custClr>
    <a:custClr name="Credit Suisse Gre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e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4</Words>
  <Application>Microsoft Office PowerPoint</Application>
  <PresentationFormat>Custom</PresentationFormat>
  <Paragraphs>16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 Presentation</vt:lpstr>
    </vt:vector>
  </TitlesOfParts>
  <Company>Credit Suiss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kker Attila (KVNA 24)</dc:creator>
  <cp:lastModifiedBy>Bekker Attila (KVNA 24)</cp:lastModifiedBy>
  <cp:revision>7</cp:revision>
  <dcterms:created xsi:type="dcterms:W3CDTF">2019-01-17T08:00:04Z</dcterms:created>
  <dcterms:modified xsi:type="dcterms:W3CDTF">2019-01-17T10:3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834b02a-1bdd-4641-998e-7843c391e48d</vt:lpwstr>
  </property>
  <property fmtid="{D5CDD505-2E9C-101B-9397-08002B2CF9AE}" pid="3" name="_AdHocReviewCycleID">
    <vt:i4>502654787</vt:i4>
  </property>
  <property fmtid="{D5CDD505-2E9C-101B-9397-08002B2CF9AE}" pid="4" name="_NewReviewCycle">
    <vt:lpwstr/>
  </property>
  <property fmtid="{D5CDD505-2E9C-101B-9397-08002B2CF9AE}" pid="5" name="_EmailSubject">
    <vt:lpwstr>ada template</vt:lpwstr>
  </property>
  <property fmtid="{D5CDD505-2E9C-101B-9397-08002B2CF9AE}" pid="6" name="_AuthorEmail">
    <vt:lpwstr>attila.bekker@credit-suisse.com</vt:lpwstr>
  </property>
  <property fmtid="{D5CDD505-2E9C-101B-9397-08002B2CF9AE}" pid="7" name="_AuthorEmailDisplayName">
    <vt:lpwstr>Bekker, Attila (MIRF 105)</vt:lpwstr>
  </property>
  <property fmtid="{D5CDD505-2E9C-101B-9397-08002B2CF9AE}" pid="8" name="_PreviousAdHocReviewCycleID">
    <vt:i4>1687664083</vt:i4>
  </property>
  <property fmtid="{D5CDD505-2E9C-101B-9397-08002B2CF9AE}" pid="9" name="_SIProp12DataClass+304a34c9-5b17-4e2a-bdc3-dec6a43f35e7">
    <vt:lpwstr>v=1.2&gt;I=304a34c9-5b17-4e2a-bdc3-dec6a43f35e7&amp;N=Unrestricted&amp;V=1.3&amp;U=S-1-5-21-3718294971-3193642644-4012788348-20119&amp;D=Bekker%2c+Attila+(MIRF+105)&amp;A=Associated&amp;H=False</vt:lpwstr>
  </property>
  <property fmtid="{D5CDD505-2E9C-101B-9397-08002B2CF9AE}" pid="10" name="Classification">
    <vt:lpwstr>Unrestricted</vt:lpwstr>
  </property>
</Properties>
</file>